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6" r:id="rId8"/>
    <p:sldId id="262" r:id="rId9"/>
    <p:sldId id="267" r:id="rId10"/>
    <p:sldId id="268" r:id="rId11"/>
    <p:sldId id="263" r:id="rId12"/>
    <p:sldId id="264" r:id="rId13"/>
    <p:sldId id="265" r:id="rId14"/>
    <p:sldId id="269" r:id="rId15"/>
    <p:sldId id="274" r:id="rId16"/>
    <p:sldId id="270" r:id="rId17"/>
    <p:sldId id="271" r:id="rId18"/>
    <p:sldId id="275" r:id="rId19"/>
    <p:sldId id="272" r:id="rId20"/>
    <p:sldId id="273" r:id="rId21"/>
    <p:sldId id="276" r:id="rId22"/>
  </p:sldIdLst>
  <p:sldSz cx="12192000" cy="6858000"/>
  <p:notesSz cx="6858000" cy="9144000"/>
  <p:custDataLst>
    <p:tags r:id="rId2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43"/>
  </p:normalViewPr>
  <p:slideViewPr>
    <p:cSldViewPr snapToGrid="0" snapToObjects="1">
      <p:cViewPr varScale="1">
        <p:scale>
          <a:sx n="110" d="100"/>
          <a:sy n="110" d="100"/>
        </p:scale>
        <p:origin x="63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62414FA-88F9-434C-8074-83D6670850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8026160C-9064-984B-A71B-B63B8AED7D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417E568-653C-0D46-90C9-93EC7292EF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5D1AF-EB2C-5649-BF69-9848132CC511}" type="datetimeFigureOut">
              <a:rPr kumimoji="1" lang="zh-CN" altLang="en-US" smtClean="0"/>
              <a:t>2021/3/25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6303403-A9FF-B64D-8EC0-056F01222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2391E7A-15D1-3E47-8141-00657DFA2E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6CB9-E3EC-D74B-8395-317197A9AB9B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9953040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9E941FE-89A2-2A44-B6B5-743089E50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AE53CBAE-EFC4-3041-808E-AECCF46FC4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85436FE-9036-7346-A483-CA2D423DCF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5D1AF-EB2C-5649-BF69-9848132CC511}" type="datetimeFigureOut">
              <a:rPr kumimoji="1" lang="zh-CN" altLang="en-US" smtClean="0"/>
              <a:t>2021/3/25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A1F7C4F-E70F-3342-9E19-C0DCC5E7EF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C6AFE7A-E930-924B-A4EC-DA19D2326D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6CB9-E3EC-D74B-8395-317197A9AB9B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489235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390A4DCE-0721-FA40-9B9B-86F2CEE812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4CDC26A0-867B-7C41-BE2C-244DDA8A45F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89FCDC2-55B1-2141-983D-E3D3D73D5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5D1AF-EB2C-5649-BF69-9848132CC511}" type="datetimeFigureOut">
              <a:rPr kumimoji="1" lang="zh-CN" altLang="en-US" smtClean="0"/>
              <a:t>2021/3/25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084F758-B8B8-3849-8A8E-F5D00C3563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46C971B-2F53-3D4A-A845-3377E17A33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6CB9-E3EC-D74B-8395-317197A9AB9B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4063790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DCD7973-CE02-3042-AA1D-DEF9E2EC1E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E658B68-3940-CB42-B107-0B70B277DA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F504044-3614-2744-97D5-A3D30D13A5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5D1AF-EB2C-5649-BF69-9848132CC511}" type="datetimeFigureOut">
              <a:rPr kumimoji="1" lang="zh-CN" altLang="en-US" smtClean="0"/>
              <a:t>2021/3/25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2BE28BF-CC4B-FE48-864D-3FFCBEB3AE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F6FA0A5-5107-504E-AD10-BD4A40A6A4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6CB9-E3EC-D74B-8395-317197A9AB9B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9836859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D6F1DC4-2140-E140-BD14-C5A03E9A0E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E2FC78E-4FEC-7F4A-9E9C-9F6F391017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602CF4F-2EFC-BC43-B7D3-43797C4E38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5D1AF-EB2C-5649-BF69-9848132CC511}" type="datetimeFigureOut">
              <a:rPr kumimoji="1" lang="zh-CN" altLang="en-US" smtClean="0"/>
              <a:t>2021/3/25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C504B64-F25F-F845-A739-8DB46C7F23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F94E2AC-DE8B-FB40-80A8-0D6850D540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6CB9-E3EC-D74B-8395-317197A9AB9B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0570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2414D67-72C0-5E46-85D8-2EC308A3F7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5DCBF13-0A6A-7145-B668-FA6C45B845D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7E075F09-5677-A84D-A306-1040A2F3F76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761F366-720C-FD42-8287-0F91AEC7F1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5D1AF-EB2C-5649-BF69-9848132CC511}" type="datetimeFigureOut">
              <a:rPr kumimoji="1" lang="zh-CN" altLang="en-US" smtClean="0"/>
              <a:t>2021/3/25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08BA4C81-9278-A64C-86AD-64D1F64A3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3996D5C3-1889-344D-AA94-C82931FBE8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6CB9-E3EC-D74B-8395-317197A9AB9B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342266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89D67A2-ED74-A94B-B90D-C64387D38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9C86228-84CB-534F-B137-1153877E8F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BF611B66-DFB2-DB47-84EE-9800F20CA8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DB20F7CE-45AC-D947-A783-158D3423613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9D981DDB-DA4D-6847-8B35-457382EA926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4AE7BA22-4E63-4646-8EB3-16A6741490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5D1AF-EB2C-5649-BF69-9848132CC511}" type="datetimeFigureOut">
              <a:rPr kumimoji="1" lang="zh-CN" altLang="en-US" smtClean="0"/>
              <a:t>2021/3/25</a:t>
            </a:fld>
            <a:endParaRPr kumimoji="1"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634C6064-7224-6545-84C1-5FF8D9483A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2E35D8EB-CDB1-7243-A979-0D39571D7F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6CB9-E3EC-D74B-8395-317197A9AB9B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29576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818B537-92C7-444B-8EBA-163A11C3E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ED682227-D4AA-0449-9247-C3242B10D1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5D1AF-EB2C-5649-BF69-9848132CC511}" type="datetimeFigureOut">
              <a:rPr kumimoji="1" lang="zh-CN" altLang="en-US" smtClean="0"/>
              <a:t>2021/3/25</a:t>
            </a:fld>
            <a:endParaRPr kumimoji="1"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15CE924-0ADD-9B4F-BDE9-15D56C7940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6493D368-39B0-BC41-9507-864D885B8B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6CB9-E3EC-D74B-8395-317197A9AB9B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7992591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E52F5D90-E5B1-A947-BD62-ADF9E3E400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5D1AF-EB2C-5649-BF69-9848132CC511}" type="datetimeFigureOut">
              <a:rPr kumimoji="1" lang="zh-CN" altLang="en-US" smtClean="0"/>
              <a:t>2021/3/25</a:t>
            </a:fld>
            <a:endParaRPr kumimoji="1"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D4213FF-BD05-7949-9004-D37834EEBE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32BB2B9-666D-7C45-8A55-FA1A3E2BC8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6CB9-E3EC-D74B-8395-317197A9AB9B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2775930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3137B7B-C0CD-6647-A09A-E6836D04EA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77CAA8D-4F6D-F741-81CF-5C9050F54A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17530249-E6C0-3A43-A62F-BC76ADB390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9B50FC8-E6ED-E64D-BE5C-2C21FBA34B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5D1AF-EB2C-5649-BF69-9848132CC511}" type="datetimeFigureOut">
              <a:rPr kumimoji="1" lang="zh-CN" altLang="en-US" smtClean="0"/>
              <a:t>2021/3/25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490C82BA-D78F-4A49-8CC4-0DE5B78399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A52A5D0A-A668-B74F-A2F1-4942D204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6CB9-E3EC-D74B-8395-317197A9AB9B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599693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44C976-1B8E-6945-AF0D-70E49F9C51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63354FDC-F5A6-0E44-9B14-1D123E1EF0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D3F73A7C-0664-7846-B1FD-7824C4D6A9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899649A-30C8-0F42-B29E-94E2062EC1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5D1AF-EB2C-5649-BF69-9848132CC511}" type="datetimeFigureOut">
              <a:rPr kumimoji="1" lang="zh-CN" altLang="en-US" smtClean="0"/>
              <a:t>2021/3/25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58186392-4801-9A41-AC0D-189D9D0DAF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355353B1-A264-084B-BA34-72E17DE315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6CB9-E3EC-D74B-8395-317197A9AB9B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1959629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CB1F081E-41FD-E944-99BC-7740761F1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251638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幻灯片" r:id="rId15" imgW="7772400" imgH="10058400" progId="TCLayout.ActiveDocument.1">
                  <p:embed/>
                </p:oleObj>
              </mc:Choice>
              <mc:Fallback>
                <p:oleObj name="think-cell 幻灯片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8AD22E94-C2AE-CC43-BBB9-45A0DF33D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3D1597E-B34C-E143-BA83-E92D12BAE6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23F5470-2410-BE44-8A34-B963DD747A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75D1AF-EB2C-5649-BF69-9848132CC511}" type="datetimeFigureOut">
              <a:rPr kumimoji="1" lang="zh-CN" altLang="en-US" smtClean="0"/>
              <a:t>2021/3/25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77FBE3E-BA4F-D448-8AB2-B44B27F4D3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1C18662-F35B-D342-97D1-B91CC337BA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246CB9-E3EC-D74B-8395-317197A9AB9B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426419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3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8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6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8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7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3.emf"/><Relationship Id="rId4" Type="http://schemas.openxmlformats.org/officeDocument/2006/relationships/oleObject" Target="../embeddings/oleObject20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8FEB267-5D38-584E-8ED6-DFFC256779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58497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107B9765-3402-1242-9DDB-041887934E0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dirty="0"/>
              <a:t>Review top-3 Challenge 2020 papers for Challenge 2021</a:t>
            </a:r>
            <a:endParaRPr kumimoji="1" lang="zh-CN" altLang="en-US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9593B345-EA81-EB48-B4C1-D1DC458A0C5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zh-CN" altLang="en-US" dirty="0"/>
              <a:t>李晓宇</a:t>
            </a:r>
            <a:endParaRPr kumimoji="1" lang="en-US" altLang="zh-CN" dirty="0"/>
          </a:p>
          <a:p>
            <a:r>
              <a:rPr kumimoji="1" lang="en-US" altLang="zh-CN" dirty="0"/>
              <a:t>3.25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032178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98AE116A-CEAB-C04D-A90A-1A0A156897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98AE116A-CEAB-C04D-A90A-1A0A156897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85A3B93-C6BD-FD44-9035-85893A1F3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Top-3</a:t>
            </a:r>
            <a:r>
              <a:rPr kumimoji="1" lang="zh-CN" altLang="en-US" dirty="0"/>
              <a:t> </a:t>
            </a:r>
            <a:r>
              <a:rPr kumimoji="1" lang="en-US" altLang="zh-CN" dirty="0"/>
              <a:t>teams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BB054EE-D30A-9341-8BCF-2CE512994C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109FB0A7-D4A5-AB4D-8BD0-3178D3A781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1485900"/>
            <a:ext cx="11277600" cy="1943100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128E73C0-E639-4D42-B18A-75C5F67F31C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2400" y="2313329"/>
            <a:ext cx="11887200" cy="37592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D66F7936-0348-F545-8C9D-9FBD65E035C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3429000"/>
            <a:ext cx="12103100" cy="295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9084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A567FAD-B8FD-CF49-ABEB-E8E6485015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486214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85A3B93-C6BD-FD44-9035-85893A1F3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Preprocess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BB054EE-D30A-9341-8BCF-2CE512994C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864542"/>
          </a:xfrm>
        </p:spPr>
        <p:txBody>
          <a:bodyPr/>
          <a:lstStyle/>
          <a:p>
            <a:r>
              <a:rPr kumimoji="1" lang="en-US" altLang="zh-CN" dirty="0"/>
              <a:t>1st</a:t>
            </a:r>
            <a:r>
              <a:rPr kumimoji="1" lang="zh-CN" altLang="en-US" dirty="0"/>
              <a:t>：</a:t>
            </a:r>
            <a:endParaRPr kumimoji="1" lang="en-US" altLang="zh-CN" dirty="0"/>
          </a:p>
          <a:p>
            <a:pPr marL="0" indent="0">
              <a:buNone/>
            </a:pPr>
            <a:r>
              <a:rPr kumimoji="1" lang="en-US" altLang="zh-CN" dirty="0"/>
              <a:t>	500Hz</a:t>
            </a:r>
            <a:r>
              <a:rPr kumimoji="1" lang="zh-CN" altLang="en-US" dirty="0"/>
              <a:t>，</a:t>
            </a:r>
            <a:r>
              <a:rPr kumimoji="1" lang="en-US" altLang="zh-CN" dirty="0"/>
              <a:t>FIR</a:t>
            </a:r>
            <a:r>
              <a:rPr kumimoji="1" lang="zh-CN" altLang="en-US" dirty="0"/>
              <a:t> </a:t>
            </a:r>
            <a:r>
              <a:rPr kumimoji="1" lang="en-US" altLang="zh-CN" dirty="0"/>
              <a:t>bandpass</a:t>
            </a:r>
            <a:r>
              <a:rPr kumimoji="1" lang="zh-CN" altLang="en-US" dirty="0"/>
              <a:t> </a:t>
            </a:r>
            <a:r>
              <a:rPr kumimoji="1" lang="en-US" altLang="zh-CN" dirty="0"/>
              <a:t>filter</a:t>
            </a:r>
            <a:r>
              <a:rPr kumimoji="1" lang="zh-CN" altLang="en-US" dirty="0"/>
              <a:t> </a:t>
            </a:r>
            <a:r>
              <a:rPr kumimoji="1" lang="en-US" altLang="zh-CN" dirty="0"/>
              <a:t>3-45Hz</a:t>
            </a:r>
            <a:r>
              <a:rPr kumimoji="1" lang="zh-CN" altLang="en-US" dirty="0"/>
              <a:t>，</a:t>
            </a:r>
            <a:r>
              <a:rPr kumimoji="1" lang="en-US" altLang="zh-CN" dirty="0"/>
              <a:t>T=15s</a:t>
            </a:r>
            <a:r>
              <a:rPr kumimoji="1" lang="zh-CN" altLang="en-US" dirty="0"/>
              <a:t>，</a:t>
            </a:r>
            <a:r>
              <a:rPr kumimoji="1" lang="en-US" altLang="zh-CN" dirty="0"/>
              <a:t>normalized</a:t>
            </a:r>
            <a:r>
              <a:rPr kumimoji="1" lang="zh-CN" altLang="en-US" dirty="0"/>
              <a:t> </a:t>
            </a:r>
            <a:r>
              <a:rPr kumimoji="1" lang="en-US" altLang="zh-CN" dirty="0"/>
              <a:t>to</a:t>
            </a:r>
            <a:r>
              <a:rPr kumimoji="1" lang="zh-CN" altLang="en-US" dirty="0"/>
              <a:t> </a:t>
            </a:r>
            <a:r>
              <a:rPr kumimoji="1" lang="en-US" altLang="zh-CN" dirty="0"/>
              <a:t>    -1</a:t>
            </a:r>
            <a:r>
              <a:rPr kumimoji="1" lang="zh-CN" altLang="en-US" dirty="0"/>
              <a:t> ～ </a:t>
            </a:r>
            <a:r>
              <a:rPr kumimoji="1" lang="en-US" altLang="zh-CN" dirty="0"/>
              <a:t>1</a:t>
            </a:r>
          </a:p>
          <a:p>
            <a:r>
              <a:rPr kumimoji="1" lang="en-US" altLang="zh-CN" dirty="0"/>
              <a:t>2nd</a:t>
            </a:r>
            <a:r>
              <a:rPr kumimoji="1" lang="zh-CN" altLang="en-US" dirty="0"/>
              <a:t>：</a:t>
            </a:r>
            <a:endParaRPr kumimoji="1" lang="en-US" altLang="zh-CN" dirty="0"/>
          </a:p>
          <a:p>
            <a:pPr marL="0" indent="0">
              <a:buNone/>
            </a:pPr>
            <a:r>
              <a:rPr kumimoji="1" lang="en-US" altLang="zh-CN" dirty="0"/>
              <a:t>	257Hz</a:t>
            </a:r>
            <a:r>
              <a:rPr kumimoji="1" lang="zh-CN" altLang="en-US" dirty="0"/>
              <a:t>，</a:t>
            </a:r>
            <a:r>
              <a:rPr kumimoji="1" lang="en-US" altLang="zh-CN" dirty="0"/>
              <a:t>4096points</a:t>
            </a:r>
            <a:r>
              <a:rPr kumimoji="1" lang="zh-CN" altLang="en-US" dirty="0"/>
              <a:t>（～</a:t>
            </a:r>
            <a:r>
              <a:rPr kumimoji="1" lang="en-US" altLang="zh-CN" dirty="0"/>
              <a:t>16s</a:t>
            </a:r>
            <a:r>
              <a:rPr kumimoji="1" lang="zh-CN" altLang="en-US" dirty="0"/>
              <a:t>）</a:t>
            </a:r>
            <a:endParaRPr kumimoji="1" lang="en-US" altLang="zh-CN" dirty="0"/>
          </a:p>
          <a:p>
            <a:r>
              <a:rPr kumimoji="1" lang="en-US" altLang="zh-CN" dirty="0"/>
              <a:t>3rd</a:t>
            </a:r>
            <a:r>
              <a:rPr kumimoji="1" lang="zh-CN" altLang="en-US" dirty="0"/>
              <a:t>：</a:t>
            </a:r>
            <a:endParaRPr kumimoji="1" lang="en-US" altLang="zh-CN" dirty="0"/>
          </a:p>
          <a:p>
            <a:pPr marL="0" indent="0">
              <a:buNone/>
            </a:pPr>
            <a:r>
              <a:rPr kumimoji="1" lang="en-US" altLang="zh-CN" dirty="0"/>
              <a:t>	500Hz, 30s (baseline)</a:t>
            </a:r>
            <a:r>
              <a:rPr kumimoji="1" lang="zh-CN" altLang="en-US" dirty="0"/>
              <a:t> </a:t>
            </a:r>
            <a:r>
              <a:rPr kumimoji="1" lang="en-US" altLang="zh-CN" dirty="0"/>
              <a:t>&amp;</a:t>
            </a:r>
            <a:r>
              <a:rPr kumimoji="1" lang="zh-CN" altLang="en-US" dirty="0"/>
              <a:t> </a:t>
            </a:r>
            <a:r>
              <a:rPr kumimoji="1" lang="en-US" altLang="zh-CN" dirty="0"/>
              <a:t>10s</a:t>
            </a:r>
            <a:r>
              <a:rPr kumimoji="1" lang="zh-CN" altLang="en-US" dirty="0"/>
              <a:t>， </a:t>
            </a:r>
            <a:r>
              <a:rPr kumimoji="1" lang="en-US" altLang="zh-CN" dirty="0"/>
              <a:t>biorthogonal wavelet transformation for wavelet denoising. INCART dataset is excluded.</a:t>
            </a:r>
          </a:p>
          <a:p>
            <a:pPr marL="0" indent="0">
              <a:buNone/>
            </a:pPr>
            <a:r>
              <a:rPr kumimoji="1" lang="en-US" altLang="zh-CN" dirty="0"/>
              <a:t>8 leads. Data split: 8:2. A external dataset is used for validation. Data without a label in the 27 classes are excluded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526453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D71E5205-D940-C647-9536-D20D066D31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9084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85A3B93-C6BD-FD44-9035-85893A1F3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Augmentation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BB054EE-D30A-9341-8BCF-2CE512994C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en-US" altLang="zh-CN" dirty="0"/>
              <a:t>None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050605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261B285A-0B93-7349-BD19-B989B16B19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34098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85A3B93-C6BD-FD44-9035-85893A1F3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Knowledge incorporation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BB054EE-D30A-9341-8BCF-2CE512994C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kumimoji="1" lang="en-US" altLang="zh-CN" dirty="0"/>
              <a:t>1st</a:t>
            </a:r>
            <a:r>
              <a:rPr kumimoji="1" lang="zh-CN" altLang="en-US" dirty="0"/>
              <a:t>：</a:t>
            </a:r>
            <a:endParaRPr kumimoji="1" lang="en-US" altLang="zh-CN" dirty="0"/>
          </a:p>
          <a:p>
            <a:pPr marL="0" indent="0">
              <a:buNone/>
            </a:pPr>
            <a:r>
              <a:rPr kumimoji="1" lang="en-US" altLang="zh-CN" dirty="0"/>
              <a:t>	Extract over 300 features from lead II, and select 20 features with random forest. The “wide feature” consists of the 20 features + age + gender. </a:t>
            </a:r>
          </a:p>
          <a:p>
            <a:r>
              <a:rPr kumimoji="1" lang="en-US" altLang="zh-CN" dirty="0"/>
              <a:t>2</a:t>
            </a:r>
            <a:r>
              <a:rPr kumimoji="1" lang="en-US" altLang="zh-CN" baseline="30000" dirty="0"/>
              <a:t>nd</a:t>
            </a:r>
            <a:r>
              <a:rPr kumimoji="1" lang="zh-CN" altLang="en-US" dirty="0"/>
              <a:t>：</a:t>
            </a:r>
            <a:endParaRPr kumimoji="1" lang="en-US" altLang="zh-CN" dirty="0"/>
          </a:p>
          <a:p>
            <a:pPr marL="0" indent="0">
              <a:buNone/>
            </a:pPr>
            <a:r>
              <a:rPr kumimoji="1" lang="en-US" altLang="zh-CN" dirty="0"/>
              <a:t>	Age and gender as feature</a:t>
            </a:r>
          </a:p>
          <a:p>
            <a:r>
              <a:rPr kumimoji="1" lang="en-US" altLang="zh-CN" dirty="0"/>
              <a:t>3rd</a:t>
            </a:r>
            <a:r>
              <a:rPr kumimoji="1" lang="zh-CN" altLang="en-US" dirty="0"/>
              <a:t>：</a:t>
            </a:r>
            <a:endParaRPr kumimoji="1" lang="en-US" altLang="zh-CN" dirty="0"/>
          </a:p>
          <a:p>
            <a:pPr marL="0" indent="0">
              <a:buNone/>
            </a:pPr>
            <a:r>
              <a:rPr kumimoji="1" lang="en-US" altLang="zh-CN" dirty="0"/>
              <a:t>	No age and gender. Rule-based bradycardia classifier.</a:t>
            </a:r>
          </a:p>
          <a:p>
            <a:pPr marL="0" indent="0">
              <a:buNone/>
            </a:pPr>
            <a:r>
              <a:rPr kumimoji="1" lang="en-US" altLang="zh-CN" dirty="0"/>
              <a:t>	Propose abnormal heartbeats segmentation via 1-D U-net. (“Some of the cardiac abnormalities are associated with individual heartbeats”)</a:t>
            </a:r>
          </a:p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879431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A5FB3112-E1F1-F940-BC4E-B37372644A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70493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85A3B93-C6BD-FD44-9035-85893A1F3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Network 1st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BB054EE-D30A-9341-8BCF-2CE512994C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en-US" altLang="zh-CN" dirty="0"/>
              <a:t>N=8, M=6</a:t>
            </a:r>
          </a:p>
          <a:p>
            <a:r>
              <a:rPr kumimoji="1" lang="en-US" altLang="zh-CN" dirty="0"/>
              <a:t>FC1: (2046, 64)</a:t>
            </a:r>
          </a:p>
          <a:p>
            <a:r>
              <a:rPr kumimoji="1" lang="en-US" altLang="zh-CN" dirty="0"/>
              <a:t>FC2: (64+22, 27)</a:t>
            </a:r>
            <a:endParaRPr kumimoji="1"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5F815387-0776-3C40-A353-F135018804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52023" y="1447800"/>
            <a:ext cx="7861300" cy="541020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1FA83A9E-ED82-0748-848D-ABB2FE9F6F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4716966"/>
            <a:ext cx="4305782" cy="2129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0619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A5FB3112-E1F1-F940-BC4E-B37372644A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A5FB3112-E1F1-F940-BC4E-B37372644A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85A3B93-C6BD-FD44-9035-85893A1F3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Network 1st</a:t>
            </a:r>
            <a:endParaRPr kumimoji="1" lang="zh-CN" altLang="en-US" dirty="0"/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2F5F56C0-B2CF-9649-882D-9C89F096A9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5046000" cy="4351338"/>
          </a:xfrm>
        </p:spPr>
        <p:txBody>
          <a:bodyPr/>
          <a:lstStyle/>
          <a:p>
            <a:r>
              <a:rPr lang="en-US" altLang="zh-CN" dirty="0"/>
              <a:t>Transformer module did not necessarily lead to better performance than an RNN module, but it did allow for faster model training and iteration.</a:t>
            </a:r>
            <a:endParaRPr lang="zh-CN" altLang="en-US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9D2B85C9-9817-CC4E-90E6-8090B5446C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84200" y="358775"/>
            <a:ext cx="5956300" cy="613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9628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318A46E1-93ED-EB42-9C0A-5310AA9485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35114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85A3B93-C6BD-FD44-9035-85893A1F3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Network 2nd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BB054EE-D30A-9341-8BCF-2CE512994C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2819400" cy="4351338"/>
          </a:xfrm>
        </p:spPr>
        <p:txBody>
          <a:bodyPr/>
          <a:lstStyle/>
          <a:p>
            <a:r>
              <a:rPr kumimoji="1" lang="en-US" altLang="zh-CN" dirty="0"/>
              <a:t>Age &amp; gender</a:t>
            </a:r>
          </a:p>
          <a:p>
            <a:r>
              <a:rPr kumimoji="1" lang="en-US" altLang="zh-CN" dirty="0"/>
              <a:t>First kernel 15, other kernels 7</a:t>
            </a:r>
          </a:p>
          <a:p>
            <a:r>
              <a:rPr kumimoji="1" lang="en-US" altLang="zh-CN" dirty="0"/>
              <a:t>Dropout 0.2</a:t>
            </a:r>
          </a:p>
          <a:p>
            <a:r>
              <a:rPr kumimoji="1" lang="en-US" altLang="zh-CN" dirty="0"/>
              <a:t>SE block</a:t>
            </a:r>
            <a:endParaRPr kumimoji="1"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FB62D6A-8EFB-A14A-8381-4554C5DA8D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99500" y="365125"/>
            <a:ext cx="3492500" cy="604520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127D67AB-6F51-684A-879F-4BD6FF99FD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78200" y="1503363"/>
            <a:ext cx="5435600" cy="467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1676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860867A-4C46-A640-88D2-B0BD2E622C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8172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85A3B93-C6BD-FD44-9035-85893A1F3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Network 3nd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BB054EE-D30A-9341-8BCF-2CE512994C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E8CE1C8-9A6B-5440-BFE7-230912FD94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58730" y="473075"/>
            <a:ext cx="6184900" cy="601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8576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860867A-4C46-A640-88D2-B0BD2E622C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1860867A-4C46-A640-88D2-B0BD2E622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85A3B93-C6BD-FD44-9035-85893A1F3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Network 3nd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BB054EE-D30A-9341-8BCF-2CE512994C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E8CE1C8-9A6B-5440-BFE7-230912FD94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58730" y="473075"/>
            <a:ext cx="6184900" cy="60198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4AA6CB90-6493-A640-8519-01A144D295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327415"/>
            <a:ext cx="12192000" cy="6203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8229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A1363B45-97B9-7043-A706-BC7C5A47CB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10485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85A3B93-C6BD-FD44-9035-85893A1F3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Class imbalance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BB054EE-D30A-9341-8BCF-2CE512994C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en-US" altLang="zh-CN" dirty="0"/>
              <a:t>1st: Optimal thresholds were computed on the model’s validation set to maximize the challenge metric.</a:t>
            </a:r>
          </a:p>
          <a:p>
            <a:r>
              <a:rPr kumimoji="1" lang="en-US" altLang="zh-CN" dirty="0"/>
              <a:t>2nd: Threshold optimization. “a simple constrained grid-search method”. Accurate representation is possible even in the presence of class imbalance.</a:t>
            </a:r>
          </a:p>
          <a:p>
            <a:r>
              <a:rPr kumimoji="1" lang="en-US" altLang="zh-CN" dirty="0"/>
              <a:t>3rd: Relabel CPSC data (To train a classifier and label when p&gt;0.8). “</a:t>
            </a:r>
            <a:r>
              <a:rPr lang="en" altLang="zh-CN" dirty="0"/>
              <a:t>The optimal binarization threshold was found to be 0.36 on the offline test set</a:t>
            </a:r>
            <a:r>
              <a:rPr kumimoji="1" lang="en-US" altLang="zh-CN" dirty="0"/>
              <a:t>”. Sign loss:</a:t>
            </a:r>
          </a:p>
          <a:p>
            <a:pPr marL="0" indent="0">
              <a:buNone/>
            </a:pPr>
            <a:r>
              <a:rPr kumimoji="1" lang="en-US" altLang="zh-CN" dirty="0"/>
              <a:t>	 </a:t>
            </a:r>
            <a:endParaRPr kumimoji="1" lang="zh-CN" altLang="en-US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FB478457-C6C9-4A4A-8FAA-8696206CA4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46453" y="5193657"/>
            <a:ext cx="5638800" cy="144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9950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1BE1960-7588-CE41-A5C4-202CC7F80E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A94F5CC-A8F9-3847-8FAD-78272CC845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F4C6CE4B-63FB-2F4D-ADDA-65964BCA12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458788"/>
            <a:ext cx="9271000" cy="24638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197E2225-81EB-3A4A-8284-1AD98651DA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2994930"/>
            <a:ext cx="8166100" cy="302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2489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C8FA7B3-6BDC-1E45-B02E-916DFF2D6A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6753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85A3B93-C6BD-FD44-9035-85893A1F3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Ensemble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BB054EE-D30A-9341-8BCF-2CE512994C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en-US" altLang="zh-CN" dirty="0"/>
              <a:t>1st: 10 fold cross validation and top-3 models selected. A class is predicted to be positive if any classifier predicts that class to be positive.</a:t>
            </a:r>
          </a:p>
          <a:p>
            <a:r>
              <a:rPr kumimoji="1" lang="en-US" altLang="zh-CN" dirty="0"/>
              <a:t>2nd: 5 models trained via 5-fold cross validation. ECGs were classified according to the majority vote.</a:t>
            </a:r>
          </a:p>
          <a:p>
            <a:r>
              <a:rPr kumimoji="1" lang="en-US" altLang="zh-CN" dirty="0"/>
              <a:t>3rd: Model</a:t>
            </a:r>
            <a:r>
              <a:rPr kumimoji="1" lang="en-US" altLang="zh-CN" baseline="-25000" dirty="0"/>
              <a:t>5000</a:t>
            </a:r>
            <a:r>
              <a:rPr kumimoji="1" lang="en-US" altLang="zh-CN" dirty="0"/>
              <a:t> + Model</a:t>
            </a:r>
            <a:r>
              <a:rPr kumimoji="1" lang="en-US" altLang="zh-CN" baseline="-25000" dirty="0"/>
              <a:t>15000</a:t>
            </a:r>
            <a:r>
              <a:rPr kumimoji="1" lang="en-US" altLang="zh-CN" dirty="0"/>
              <a:t> + Rule</a:t>
            </a:r>
          </a:p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54472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544107E0-3739-7646-AF65-EB628292AD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89266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F3EE73D-21BB-6742-BAF3-3666A2C0CE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Others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1A0E0BE-BF03-7B41-87E1-FE6ACE0209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kumimoji="1" lang="en-US" altLang="zh-CN" dirty="0"/>
              <a:t>1st: Noam optimization procedure was observed to be crucial for achieving a reasonable challenge score when using the Transformer module. Future work: to utilize the other 88 classes.</a:t>
            </a:r>
          </a:p>
          <a:p>
            <a:r>
              <a:rPr kumimoji="1" lang="en-US" altLang="zh-CN" dirty="0"/>
              <a:t>2nd: The improved </a:t>
            </a:r>
            <a:r>
              <a:rPr kumimoji="1" lang="en-US" altLang="zh-CN" dirty="0" err="1"/>
              <a:t>ResNet</a:t>
            </a:r>
            <a:r>
              <a:rPr kumimoji="1" lang="en-US" altLang="zh-CN" dirty="0"/>
              <a:t> failed to migrate from multiple data sets to a completely different data set effectively. Not explainable. Future work: to improve performance by first conducting cluster analysis of false classifications to determine common modes of failure.</a:t>
            </a:r>
          </a:p>
          <a:p>
            <a:r>
              <a:rPr kumimoji="1" lang="en-US" altLang="zh-CN" dirty="0"/>
              <a:t>3rd: A very high recall and low precision were observed when applying the rule, and this could be attributed to the sub-optimal label quality.</a:t>
            </a:r>
          </a:p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154593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85A3B93-C6BD-FD44-9035-85893A1F3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BB054EE-D30A-9341-8BCF-2CE512994C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B7191BD-651F-844F-813E-09517A7741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7324" y="1690688"/>
            <a:ext cx="9004300" cy="449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291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B9C03AA8-4F81-D249-B5A2-55111A8E1E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12403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图片 3">
            <a:extLst>
              <a:ext uri="{FF2B5EF4-FFF2-40B4-BE49-F238E27FC236}">
                <a16:creationId xmlns:a16="http://schemas.microsoft.com/office/drawing/2014/main" id="{5F67C16B-2A0B-9F47-BFFB-96963B0F29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5804" y="0"/>
            <a:ext cx="5230196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21EEE9C0-E56F-6245-BC46-FDF6BA13A9B7}"/>
              </a:ext>
            </a:extLst>
          </p:cNvPr>
          <p:cNvSpPr/>
          <p:nvPr/>
        </p:nvSpPr>
        <p:spPr>
          <a:xfrm>
            <a:off x="6096000" y="1779640"/>
            <a:ext cx="490706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" altLang="zh-CN" b="0" i="0" dirty="0">
                <a:solidFill>
                  <a:srgbClr val="727272"/>
                </a:solidFill>
                <a:effectLst/>
                <a:latin typeface="Noto Sans" panose="020B0502040504020204" pitchFamily="34" charset="0"/>
              </a:rPr>
              <a:t>We are creating a large database of heterogeneous data with varying labels, some of which are wrong or incomplete. </a:t>
            </a:r>
            <a:r>
              <a:rPr lang="en" altLang="zh-CN" b="0" i="0" dirty="0">
                <a:solidFill>
                  <a:srgbClr val="727272"/>
                </a:solidFill>
                <a:effectLst/>
                <a:highlight>
                  <a:srgbClr val="FFFF00"/>
                </a:highlight>
                <a:latin typeface="Noto Sans" panose="020B0502040504020204" pitchFamily="34" charset="0"/>
              </a:rPr>
              <a:t>Leads can be inverted, noisy, mislabeled</a:t>
            </a:r>
            <a:r>
              <a:rPr lang="en" altLang="zh-CN" b="0" i="0" dirty="0">
                <a:solidFill>
                  <a:srgbClr val="727272"/>
                </a:solidFill>
                <a:effectLst/>
                <a:latin typeface="Noto Sans" panose="020B0502040504020204" pitchFamily="34" charset="0"/>
              </a:rPr>
              <a:t>. We have deliberately made no attempt to clean this up</a:t>
            </a:r>
            <a:r>
              <a:rPr lang="en" altLang="zh-CN" b="0" i="0" dirty="0">
                <a:solidFill>
                  <a:srgbClr val="727272"/>
                </a:solidFill>
                <a:effectLst/>
                <a:highlight>
                  <a:srgbClr val="FFFF00"/>
                </a:highlight>
                <a:latin typeface="Noto Sans" panose="020B0502040504020204" pitchFamily="34" charset="0"/>
              </a:rPr>
              <a:t>. The test data contains better labels</a:t>
            </a:r>
            <a:r>
              <a:rPr lang="en" altLang="zh-CN" b="0" i="0" dirty="0">
                <a:solidFill>
                  <a:srgbClr val="727272"/>
                </a:solidFill>
                <a:effectLst/>
                <a:latin typeface="Noto Sans" panose="020B0502040504020204" pitchFamily="34" charset="0"/>
              </a:rPr>
              <a:t>, but it is not perfect either, and although it roughly correspond to the training data, it includes some deliberate differences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048908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2F60877-1954-AE4C-9D2E-F07EEF0060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21877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85A3B93-C6BD-FD44-9035-85893A1F3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Reward</a:t>
            </a:r>
            <a:r>
              <a:rPr kumimoji="1" lang="zh-CN" altLang="en-US" dirty="0"/>
              <a:t> </a:t>
            </a:r>
            <a:r>
              <a:rPr kumimoji="1" lang="en-US" altLang="zh-CN" dirty="0"/>
              <a:t>Matrix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BB054EE-D30A-9341-8BCF-2CE512994C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278B4FB7-FA91-3549-B1F1-777730EB8E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89620" y="0"/>
            <a:ext cx="780238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2678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BCC4F4B-2FCA-7F41-9C3D-94694CB758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83736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85A3B93-C6BD-FD44-9035-85893A1F3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Results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BB054EE-D30A-9341-8BCF-2CE512994C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F837B29C-6366-B44F-89F7-ABC98BB238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05792" y="0"/>
            <a:ext cx="66816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069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BCC4F4B-2FCA-7F41-9C3D-94694CB758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1BCC4F4B-2FCA-7F41-9C3D-94694CB758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85A3B93-C6BD-FD44-9035-85893A1F3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Results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BB054EE-D30A-9341-8BCF-2CE512994C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2922A0E-3F4A-C643-BC85-47B7B1CCA5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02196" y="0"/>
            <a:ext cx="78460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3358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98AE116A-CEAB-C04D-A90A-1A0A156897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73511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85A3B93-C6BD-FD44-9035-85893A1F3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Top-3</a:t>
            </a:r>
            <a:r>
              <a:rPr kumimoji="1" lang="zh-CN" altLang="en-US" dirty="0"/>
              <a:t> </a:t>
            </a:r>
            <a:r>
              <a:rPr kumimoji="1" lang="en-US" altLang="zh-CN" dirty="0"/>
              <a:t>teams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BB054EE-D30A-9341-8BCF-2CE512994C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109FB0A7-D4A5-AB4D-8BD0-3178D3A781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1485900"/>
            <a:ext cx="11277600" cy="194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075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98AE116A-CEAB-C04D-A90A-1A0A156897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98AE116A-CEAB-C04D-A90A-1A0A156897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85A3B93-C6BD-FD44-9035-85893A1F3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Top-3</a:t>
            </a:r>
            <a:r>
              <a:rPr kumimoji="1" lang="zh-CN" altLang="en-US" dirty="0"/>
              <a:t> </a:t>
            </a:r>
            <a:r>
              <a:rPr kumimoji="1" lang="en-US" altLang="zh-CN" dirty="0"/>
              <a:t>teams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BB054EE-D30A-9341-8BCF-2CE512994C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109FB0A7-D4A5-AB4D-8BD0-3178D3A781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1485900"/>
            <a:ext cx="11277600" cy="1943100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128E73C0-E639-4D42-B18A-75C5F67F31C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2400" y="2313329"/>
            <a:ext cx="11887200" cy="37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4047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7</TotalTime>
  <Words>562</Words>
  <Application>Microsoft Macintosh PowerPoint</Application>
  <PresentationFormat>宽屏</PresentationFormat>
  <Paragraphs>54</Paragraphs>
  <Slides>2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27" baseType="lpstr">
      <vt:lpstr>等线</vt:lpstr>
      <vt:lpstr>等线 Light</vt:lpstr>
      <vt:lpstr>Arial</vt:lpstr>
      <vt:lpstr>Noto Sans</vt:lpstr>
      <vt:lpstr>Office 主题​​</vt:lpstr>
      <vt:lpstr>think-cell 幻灯片</vt:lpstr>
      <vt:lpstr>Review top-3 Challenge 2020 papers for Challenge 2021</vt:lpstr>
      <vt:lpstr>PowerPoint 演示文稿</vt:lpstr>
      <vt:lpstr>PowerPoint 演示文稿</vt:lpstr>
      <vt:lpstr>PowerPoint 演示文稿</vt:lpstr>
      <vt:lpstr>Reward Matrix</vt:lpstr>
      <vt:lpstr>Results</vt:lpstr>
      <vt:lpstr>Results</vt:lpstr>
      <vt:lpstr>Top-3 teams</vt:lpstr>
      <vt:lpstr>Top-3 teams</vt:lpstr>
      <vt:lpstr>Top-3 teams</vt:lpstr>
      <vt:lpstr>Preprocess</vt:lpstr>
      <vt:lpstr>Augmentation</vt:lpstr>
      <vt:lpstr>Knowledge incorporation</vt:lpstr>
      <vt:lpstr>Network 1st</vt:lpstr>
      <vt:lpstr>Network 1st</vt:lpstr>
      <vt:lpstr>Network 2nd</vt:lpstr>
      <vt:lpstr>Network 3nd</vt:lpstr>
      <vt:lpstr>Network 3nd</vt:lpstr>
      <vt:lpstr>Class imbalance</vt:lpstr>
      <vt:lpstr>Ensemble</vt:lpstr>
      <vt:lpstr>Othe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view top-3 Challenge 2020 papers for Challenge 2021</dc:title>
  <dc:creator>李 晓宇</dc:creator>
  <cp:lastModifiedBy>李 晓宇</cp:lastModifiedBy>
  <cp:revision>15</cp:revision>
  <dcterms:created xsi:type="dcterms:W3CDTF">2021-03-25T08:29:05Z</dcterms:created>
  <dcterms:modified xsi:type="dcterms:W3CDTF">2021-03-25T14:26:30Z</dcterms:modified>
</cp:coreProperties>
</file>